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82" r:id="rId3"/>
    <p:sldId id="257" r:id="rId4"/>
    <p:sldId id="277" r:id="rId5"/>
    <p:sldId id="278" r:id="rId6"/>
    <p:sldId id="298" r:id="rId7"/>
    <p:sldId id="299" r:id="rId8"/>
    <p:sldId id="279" r:id="rId9"/>
    <p:sldId id="284" r:id="rId10"/>
    <p:sldId id="286" r:id="rId11"/>
    <p:sldId id="280" r:id="rId12"/>
    <p:sldId id="285" r:id="rId13"/>
    <p:sldId id="281" r:id="rId14"/>
    <p:sldId id="283" r:id="rId15"/>
    <p:sldId id="288" r:id="rId16"/>
    <p:sldId id="289" r:id="rId17"/>
    <p:sldId id="290" r:id="rId18"/>
    <p:sldId id="291" r:id="rId19"/>
    <p:sldId id="292" r:id="rId20"/>
    <p:sldId id="300" r:id="rId21"/>
    <p:sldId id="293" r:id="rId22"/>
    <p:sldId id="295" r:id="rId23"/>
    <p:sldId id="296" r:id="rId24"/>
    <p:sldId id="301" r:id="rId25"/>
    <p:sldId id="302" r:id="rId26"/>
    <p:sldId id="297" r:id="rId27"/>
    <p:sldId id="303" r:id="rId28"/>
    <p:sldId id="304" r:id="rId29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0252" autoAdjust="0"/>
  </p:normalViewPr>
  <p:slideViewPr>
    <p:cSldViewPr>
      <p:cViewPr>
        <p:scale>
          <a:sx n="50" d="100"/>
          <a:sy n="50" d="100"/>
        </p:scale>
        <p:origin x="-2309" y="-2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9EA26E-96B9-4062-BD87-046FC5AB830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6E43F-8C54-43C7-905F-EE7264E7C11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92160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baseline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>
                <a:solidFill>
                  <a:prstClr val="black"/>
                </a:solidFill>
              </a:rPr>
              <a:pPr/>
              <a:t>1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635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>
                <a:solidFill>
                  <a:prstClr val="black"/>
                </a:solidFill>
              </a:rPr>
              <a:pPr/>
              <a:t>1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635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>
                <a:solidFill>
                  <a:prstClr val="black"/>
                </a:solidFill>
              </a:rPr>
              <a:pPr/>
              <a:t>1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635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>
                <a:solidFill>
                  <a:prstClr val="black"/>
                </a:solidFill>
              </a:rPr>
              <a:pPr/>
              <a:t>18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635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770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586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6E43F-8C54-43C7-905F-EE7264E7C11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90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72162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8352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5457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kt, 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12001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956" y="143193"/>
            <a:ext cx="6614724" cy="215444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92699" y="6689006"/>
            <a:ext cx="936228" cy="168994"/>
          </a:xfrm>
        </p:spPr>
        <p:txBody>
          <a:bodyPr/>
          <a:lstStyle/>
          <a:p>
            <a:fld id="{CF4E8803-761A-423F-920A-7DEB27B16F30}" type="datetime1">
              <a:rPr lang="de-DE" smtClean="0"/>
              <a:pPr/>
              <a:t>11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92699" y="6430297"/>
            <a:ext cx="7954486" cy="199103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79085" y="426279"/>
            <a:ext cx="6623160" cy="697671"/>
          </a:xfr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Beschreibender Titel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292698" y="1600199"/>
            <a:ext cx="8681317" cy="13336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493" y="148968"/>
            <a:ext cx="1875846" cy="92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71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1595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2191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7469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331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100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9749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7321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72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860E90-B3F3-4445-B6C9-A6451A76CEF6}" type="datetimeFigureOut">
              <a:rPr lang="de-DE" smtClean="0"/>
              <a:t>11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EEE79-6CC8-4A68-B07E-55705A263F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1429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gif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gif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5.png"/><Relationship Id="rId4" Type="http://schemas.openxmlformats.org/officeDocument/2006/relationships/image" Target="../media/image14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5.png"/><Relationship Id="rId4" Type="http://schemas.openxmlformats.org/officeDocument/2006/relationships/image" Target="../media/image14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5.png"/><Relationship Id="rId4" Type="http://schemas.openxmlformats.org/officeDocument/2006/relationships/image" Target="../media/image14.gi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esac-initiative.org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feld 16"/>
          <p:cNvSpPr txBox="1"/>
          <p:nvPr/>
        </p:nvSpPr>
        <p:spPr>
          <a:xfrm>
            <a:off x="683568" y="2780928"/>
            <a:ext cx="813690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2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3600"/>
              <a:t>Stand der ESAC-Initiative und erste Erfahrungen mit “Offsetting”</a:t>
            </a:r>
            <a:br>
              <a:rPr lang="en-US" sz="3600"/>
            </a:br>
            <a:r>
              <a:rPr lang="en-US" sz="1200"/>
              <a:t/>
            </a:r>
            <a:br>
              <a:rPr lang="en-US" sz="1200"/>
            </a:br>
            <a:r>
              <a:rPr lang="en-US" sz="2400">
                <a:solidFill>
                  <a:schemeClr val="tx1">
                    <a:lumMod val="85000"/>
                    <a:lumOff val="15000"/>
                  </a:schemeClr>
                </a:solidFill>
              </a:rPr>
              <a:t>Open APC / ESAC Workshop | </a:t>
            </a:r>
            <a:r>
              <a:rPr lang="en-US" sz="24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7</a:t>
            </a:r>
            <a:r>
              <a:rPr lang="en-US" sz="2400">
                <a:solidFill>
                  <a:schemeClr val="tx1">
                    <a:lumMod val="85000"/>
                    <a:lumOff val="15000"/>
                  </a:schemeClr>
                </a:solidFill>
              </a:rPr>
              <a:t>.-8. April 2016, UB </a:t>
            </a:r>
            <a:r>
              <a:rPr lang="en-US" sz="24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ielefeld</a:t>
            </a:r>
          </a:p>
          <a:p>
            <a:pPr>
              <a:lnSpc>
                <a:spcPct val="150000"/>
              </a:lnSpc>
            </a:pPr>
            <a:r>
              <a:rPr lang="en-US" sz="2400">
                <a:solidFill>
                  <a:schemeClr val="tx1">
                    <a:lumMod val="85000"/>
                    <a:lumOff val="15000"/>
                  </a:schemeClr>
                </a:solidFill>
              </a:rPr>
              <a:t>Kai Geschuhn, MPDL</a:t>
            </a:r>
            <a:br>
              <a:rPr lang="en-US" sz="240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280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US" sz="280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endParaRPr lang="de-DE" sz="20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0" y="0"/>
            <a:ext cx="9144000" cy="2636912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34"/>
          <a:stretch/>
        </p:blipFill>
        <p:spPr>
          <a:xfrm>
            <a:off x="683568" y="251656"/>
            <a:ext cx="4968552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feld 24"/>
          <p:cNvSpPr txBox="1"/>
          <p:nvPr/>
        </p:nvSpPr>
        <p:spPr>
          <a:xfrm>
            <a:off x="-31576" y="0"/>
            <a:ext cx="9175576" cy="127334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593849" y="1772816"/>
            <a:ext cx="3161472" cy="4936966"/>
            <a:chOff x="624469" y="1096097"/>
            <a:chExt cx="4029308" cy="5594635"/>
          </a:xfrm>
        </p:grpSpPr>
        <p:sp>
          <p:nvSpPr>
            <p:cNvPr id="20" name="Rechteck 19"/>
            <p:cNvSpPr/>
            <p:nvPr/>
          </p:nvSpPr>
          <p:spPr>
            <a:xfrm>
              <a:off x="624469" y="1096097"/>
              <a:ext cx="4029308" cy="55946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  <a:effectLst>
              <a:outerShdw blurRad="50800" dist="25400" dir="2700000" algn="tl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2520" y="1155990"/>
              <a:ext cx="3950649" cy="5400600"/>
            </a:xfrm>
            <a:prstGeom prst="rect">
              <a:avLst/>
            </a:prstGeom>
            <a:noFill/>
            <a:effectLst/>
          </p:spPr>
        </p:pic>
      </p:grpSp>
      <p:sp>
        <p:nvSpPr>
          <p:cNvPr id="22" name="Rechteck 21"/>
          <p:cNvSpPr/>
          <p:nvPr/>
        </p:nvSpPr>
        <p:spPr>
          <a:xfrm>
            <a:off x="296047" y="1273343"/>
            <a:ext cx="297802" cy="316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23" name="Rechteck 22"/>
          <p:cNvSpPr/>
          <p:nvPr/>
        </p:nvSpPr>
        <p:spPr>
          <a:xfrm>
            <a:off x="4814163" y="1273343"/>
            <a:ext cx="297802" cy="316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accent4"/>
                </a:solidFill>
              </a:rPr>
              <a:t>2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48" y="191899"/>
            <a:ext cx="5934036" cy="107995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1416" y="2420888"/>
            <a:ext cx="4416152" cy="202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89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44" y="2260382"/>
            <a:ext cx="8076456" cy="402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901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10" name="Textfeld 9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  <p:sp>
        <p:nvSpPr>
          <p:cNvPr id="2" name="Rechteck 1"/>
          <p:cNvSpPr/>
          <p:nvPr/>
        </p:nvSpPr>
        <p:spPr>
          <a:xfrm>
            <a:off x="539552" y="2420888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46" y="2414074"/>
            <a:ext cx="8053660" cy="3785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201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539551" y="2420888"/>
            <a:ext cx="8118909" cy="36086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smtClean="0"/>
              <a:t>Why Offsetting?</a:t>
            </a:r>
            <a:endParaRPr lang="de-DE" sz="3200"/>
          </a:p>
          <a:p>
            <a:endParaRPr lang="de-DE" sz="105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smtClean="0"/>
              <a:t>In the view of the open access transition: question of the scalability of processes and workflow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smtClean="0"/>
              <a:t>What if we had to process 6.000 Max Planck articles per year?</a:t>
            </a:r>
            <a:endParaRPr lang="de-DE" sz="2800" b="1"/>
          </a:p>
        </p:txBody>
      </p:sp>
    </p:spTree>
    <p:extLst>
      <p:ext uri="{BB962C8B-B14F-4D97-AF65-F5344CB8AC3E}">
        <p14:creationId xmlns:p14="http://schemas.microsoft.com/office/powerpoint/2010/main" val="418482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10" name="Textfeld 9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  <p:sp>
        <p:nvSpPr>
          <p:cNvPr id="4" name="Rechteck 3"/>
          <p:cNvSpPr/>
          <p:nvPr/>
        </p:nvSpPr>
        <p:spPr>
          <a:xfrm>
            <a:off x="539552" y="2551837"/>
            <a:ext cx="7992888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200" smtClean="0"/>
              <a:t>ESAC Workshop </a:t>
            </a:r>
            <a:r>
              <a:rPr lang="en-US" sz="3200"/>
              <a:t/>
            </a:r>
            <a:br>
              <a:rPr lang="en-US" sz="3200"/>
            </a:br>
            <a:r>
              <a:rPr lang="en-US" sz="3200"/>
              <a:t>“Shaping the Parameters of Offsetting“</a:t>
            </a:r>
            <a:br>
              <a:rPr lang="en-US" sz="3200"/>
            </a:br>
            <a:r>
              <a:rPr lang="en-US" sz="2800"/>
              <a:t/>
            </a:r>
            <a:br>
              <a:rPr lang="en-US" sz="2800"/>
            </a:br>
            <a:r>
              <a:rPr lang="en-US" sz="2800"/>
              <a:t>Max Planck Digital Library, Munich, 7-8 March </a:t>
            </a:r>
            <a:r>
              <a:rPr lang="en-US" sz="2800" smtClean="0"/>
              <a:t>2016</a:t>
            </a:r>
          </a:p>
          <a:p>
            <a:pPr>
              <a:lnSpc>
                <a:spcPct val="150000"/>
              </a:lnSpc>
            </a:pPr>
            <a:r>
              <a:rPr lang="en-US" sz="2800"/>
              <a:t>Twitter: #oaoffsetting</a:t>
            </a:r>
          </a:p>
          <a:p>
            <a:r>
              <a:rPr lang="en-US" sz="2800" smtClean="0"/>
              <a:t> 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70432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uppieren 53"/>
          <p:cNvGrpSpPr/>
          <p:nvPr/>
        </p:nvGrpSpPr>
        <p:grpSpPr>
          <a:xfrm>
            <a:off x="-1" y="1"/>
            <a:ext cx="9144001" cy="1196752"/>
            <a:chOff x="-1" y="1"/>
            <a:chExt cx="10718494" cy="1432716"/>
          </a:xfrm>
        </p:grpSpPr>
        <p:sp>
          <p:nvSpPr>
            <p:cNvPr id="55" name="Textfeld 54"/>
            <p:cNvSpPr txBox="1"/>
            <p:nvPr/>
          </p:nvSpPr>
          <p:spPr>
            <a:xfrm>
              <a:off x="-1" y="1"/>
              <a:ext cx="10718494" cy="1432716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56" name="Grafik 5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9" y="346347"/>
              <a:ext cx="4154457" cy="756084"/>
            </a:xfrm>
            <a:prstGeom prst="rect">
              <a:avLst/>
            </a:prstGeom>
          </p:spPr>
        </p:pic>
      </p:grpSp>
      <p:sp>
        <p:nvSpPr>
          <p:cNvPr id="18" name="Textplatzhalter 17"/>
          <p:cNvSpPr>
            <a:spLocks noGrp="1"/>
          </p:cNvSpPr>
          <p:nvPr>
            <p:ph type="body" sz="quarter" idx="4294967295"/>
          </p:nvPr>
        </p:nvSpPr>
        <p:spPr>
          <a:xfrm>
            <a:off x="3975499" y="499841"/>
            <a:ext cx="3727619" cy="696912"/>
          </a:xfrm>
        </p:spPr>
        <p:txBody>
          <a:bodyPr>
            <a:normAutofit/>
          </a:bodyPr>
          <a:lstStyle/>
          <a:p>
            <a:pPr marL="0" indent="0" algn="r">
              <a:spcBef>
                <a:spcPts val="0"/>
              </a:spcBef>
              <a:buClrTx/>
              <a:buNone/>
              <a:defRPr/>
            </a:pPr>
            <a:r>
              <a:rPr lang="en-US" sz="2400" dirty="0"/>
              <a:t>The </a:t>
            </a:r>
            <a:r>
              <a:rPr lang="en-US" sz="2400" dirty="0" smtClean="0"/>
              <a:t>standard hybrid model</a:t>
            </a:r>
            <a:endParaRPr lang="en-US" sz="2400" dirty="0"/>
          </a:p>
        </p:txBody>
      </p:sp>
      <p:sp>
        <p:nvSpPr>
          <p:cNvPr id="85" name="Inhaltsplatzhalter 8"/>
          <p:cNvSpPr txBox="1">
            <a:spLocks/>
          </p:cNvSpPr>
          <p:nvPr/>
        </p:nvSpPr>
        <p:spPr>
          <a:xfrm>
            <a:off x="3983555" y="4150914"/>
            <a:ext cx="895539" cy="14773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606060"/>
              </a:buClr>
            </a:pPr>
            <a:r>
              <a:rPr lang="de-DE" sz="9600" dirty="0" smtClean="0">
                <a:solidFill>
                  <a:srgbClr val="7F7F7F"/>
                </a:solidFill>
              </a:rPr>
              <a:t>+</a:t>
            </a:r>
            <a:endParaRPr lang="de-DE" sz="9600" dirty="0">
              <a:solidFill>
                <a:srgbClr val="7F7F7F"/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46281" y="1841729"/>
            <a:ext cx="1267081" cy="3894250"/>
            <a:chOff x="2866804" y="1841729"/>
            <a:chExt cx="1372671" cy="3894250"/>
          </a:xfrm>
        </p:grpSpPr>
        <p:pic>
          <p:nvPicPr>
            <p:cNvPr id="160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34033" y="281176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1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295095" y="281176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656158" y="281176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16625" y="321703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482577" y="321703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923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77895" y="195355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6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338957" y="195355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7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700020" y="195355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8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60487" y="235882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9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526439" y="235882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7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34033" y="45258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8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295095" y="45258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9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656158" y="45258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0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16625" y="49311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1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482577" y="49311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77895" y="366765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3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338957" y="366765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700020" y="366765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5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60487" y="407292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6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526439" y="407292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hteck 5"/>
            <p:cNvSpPr/>
            <p:nvPr/>
          </p:nvSpPr>
          <p:spPr>
            <a:xfrm>
              <a:off x="2875312" y="1841729"/>
              <a:ext cx="1226054" cy="3571875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prstClr val="black"/>
                </a:solidFill>
              </a:endParaRPr>
            </a:p>
          </p:txBody>
        </p:sp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5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1598" y="4411249"/>
              <a:ext cx="556741" cy="865555"/>
            </a:xfrm>
            <a:prstGeom prst="rect">
              <a:avLst/>
            </a:prstGeom>
          </p:spPr>
        </p:pic>
        <p:sp>
          <p:nvSpPr>
            <p:cNvPr id="89" name="Inhaltsplatzhalter 8"/>
            <p:cNvSpPr txBox="1">
              <a:spLocks/>
            </p:cNvSpPr>
            <p:nvPr/>
          </p:nvSpPr>
          <p:spPr>
            <a:xfrm>
              <a:off x="2866804" y="5520535"/>
              <a:ext cx="1372671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None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355600" indent="-17462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–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538163" indent="-182563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19138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Symbol" pitchFamily="18" charset="2"/>
                <a:buChar char="-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606060"/>
                </a:buClr>
              </a:pPr>
              <a:r>
                <a:rPr lang="en-US" sz="1400" b="1" dirty="0">
                  <a:solidFill>
                    <a:srgbClr val="DB3F16"/>
                  </a:solidFill>
                </a:rPr>
                <a:t>Subscriptions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5011138" y="4269527"/>
            <a:ext cx="1271469" cy="1466452"/>
            <a:chOff x="5428732" y="4269527"/>
            <a:chExt cx="1377425" cy="1466452"/>
          </a:xfrm>
        </p:grpSpPr>
        <p:pic>
          <p:nvPicPr>
            <p:cNvPr id="49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5603792" y="45282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5964854" y="45282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6325917" y="45282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5786384" y="49335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6152336" y="49335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4" name="Rechteck 83"/>
            <p:cNvSpPr/>
            <p:nvPr/>
          </p:nvSpPr>
          <p:spPr>
            <a:xfrm>
              <a:off x="5495407" y="4269527"/>
              <a:ext cx="1226054" cy="1144078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prstClr val="black"/>
                </a:solidFill>
              </a:endParaRPr>
            </a:p>
          </p:txBody>
        </p:sp>
        <p:pic>
          <p:nvPicPr>
            <p:cNvPr id="88" name="Picture 4" descr="\\psf\Host\Volumes\Kerstin 2014\20141213\_Kerstin_141312\_form und glanz\Kunden\MPG_MPDL\18_Logo ESAC\220px-Open_Access_logo_PLoS_white.pn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5349" y="4414560"/>
              <a:ext cx="546170" cy="854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0" name="Inhaltsplatzhalter 8"/>
            <p:cNvSpPr txBox="1">
              <a:spLocks/>
            </p:cNvSpPr>
            <p:nvPr/>
          </p:nvSpPr>
          <p:spPr>
            <a:xfrm>
              <a:off x="5428732" y="5520535"/>
              <a:ext cx="1377425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None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355600" indent="-17462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–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538163" indent="-182563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19138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Symbol" pitchFamily="18" charset="2"/>
                <a:buChar char="-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606060"/>
                </a:buClr>
              </a:pPr>
              <a:r>
                <a:rPr lang="de-DE" sz="1400" b="1" dirty="0" smtClean="0">
                  <a:solidFill>
                    <a:srgbClr val="E8890A"/>
                  </a:solidFill>
                </a:rPr>
                <a:t>Open </a:t>
              </a:r>
              <a:r>
                <a:rPr lang="de-DE" sz="1400" b="1" dirty="0" err="1" smtClean="0">
                  <a:solidFill>
                    <a:srgbClr val="E8890A"/>
                  </a:solidFill>
                </a:rPr>
                <a:t>access</a:t>
              </a:r>
              <a:endParaRPr lang="de-DE" sz="1400" b="1" dirty="0">
                <a:solidFill>
                  <a:srgbClr val="E8890A"/>
                </a:solidFill>
              </a:endParaRPr>
            </a:p>
          </p:txBody>
        </p:sp>
      </p:grpSp>
      <p:sp>
        <p:nvSpPr>
          <p:cNvPr id="41" name="Textfeld 40"/>
          <p:cNvSpPr txBox="1"/>
          <p:nvPr/>
        </p:nvSpPr>
        <p:spPr>
          <a:xfrm>
            <a:off x="6457583" y="1516580"/>
            <a:ext cx="21596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rgbClr val="606060"/>
                </a:solidFill>
              </a:rPr>
              <a:t>Publisher</a:t>
            </a:r>
            <a:endParaRPr lang="en-US" sz="1600" b="1" dirty="0">
              <a:solidFill>
                <a:srgbClr val="606060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279086" y="1516580"/>
            <a:ext cx="37690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rgbClr val="606060"/>
                </a:solidFill>
              </a:rPr>
              <a:t>Institution</a:t>
            </a:r>
            <a:endParaRPr lang="en-US" sz="1600" b="1" dirty="0">
              <a:solidFill>
                <a:srgbClr val="606060"/>
              </a:solidFill>
            </a:endParaRPr>
          </a:p>
        </p:txBody>
      </p:sp>
      <p:sp>
        <p:nvSpPr>
          <p:cNvPr id="43" name="Inhaltsplatzhalter 8"/>
          <p:cNvSpPr txBox="1">
            <a:spLocks/>
          </p:cNvSpPr>
          <p:nvPr/>
        </p:nvSpPr>
        <p:spPr>
          <a:xfrm>
            <a:off x="279085" y="1921528"/>
            <a:ext cx="2165406" cy="12824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Spending for reading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Spending for </a:t>
            </a:r>
            <a:br>
              <a:rPr lang="en-US" dirty="0" smtClean="0">
                <a:solidFill>
                  <a:srgbClr val="606060"/>
                </a:solidFill>
              </a:rPr>
            </a:br>
            <a:r>
              <a:rPr lang="en-US" dirty="0" smtClean="0">
                <a:solidFill>
                  <a:srgbClr val="606060"/>
                </a:solidFill>
              </a:rPr>
              <a:t>publishing on top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No integrated transaction </a:t>
            </a:r>
          </a:p>
        </p:txBody>
      </p:sp>
      <p:sp>
        <p:nvSpPr>
          <p:cNvPr id="44" name="Inhaltsplatzhalter 8"/>
          <p:cNvSpPr txBox="1">
            <a:spLocks/>
          </p:cNvSpPr>
          <p:nvPr/>
        </p:nvSpPr>
        <p:spPr>
          <a:xfrm>
            <a:off x="6457584" y="1921528"/>
            <a:ext cx="2444652" cy="7643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Provides reading access 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Publishes individual papers open access</a:t>
            </a:r>
          </a:p>
        </p:txBody>
      </p:sp>
      <p:cxnSp>
        <p:nvCxnSpPr>
          <p:cNvPr id="45" name="Gerade Verbindung 44"/>
          <p:cNvCxnSpPr/>
          <p:nvPr/>
        </p:nvCxnSpPr>
        <p:spPr>
          <a:xfrm flipH="1">
            <a:off x="0" y="1451204"/>
            <a:ext cx="238968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>
          <a:xfrm flipH="1">
            <a:off x="6457584" y="1451204"/>
            <a:ext cx="26864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Inhaltsplatzhalter 8"/>
          <p:cNvSpPr txBox="1">
            <a:spLocks/>
          </p:cNvSpPr>
          <p:nvPr/>
        </p:nvSpPr>
        <p:spPr>
          <a:xfrm>
            <a:off x="372702" y="6036368"/>
            <a:ext cx="8208591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606060"/>
              </a:buClr>
            </a:pPr>
            <a:r>
              <a:rPr lang="en-US" sz="1800" b="1" dirty="0">
                <a:solidFill>
                  <a:srgbClr val="606060"/>
                </a:solidFill>
              </a:rPr>
              <a:t>Distinct operating models: </a:t>
            </a:r>
            <a:r>
              <a:rPr lang="en-US" sz="1800" b="1" dirty="0" smtClean="0">
                <a:solidFill>
                  <a:srgbClr val="606060"/>
                </a:solidFill>
              </a:rPr>
              <a:t/>
            </a:r>
            <a:br>
              <a:rPr lang="en-US" sz="1800" b="1" dirty="0" smtClean="0">
                <a:solidFill>
                  <a:srgbClr val="606060"/>
                </a:solidFill>
              </a:rPr>
            </a:br>
            <a:r>
              <a:rPr lang="en-US" sz="1800" b="1" dirty="0" smtClean="0">
                <a:solidFill>
                  <a:srgbClr val="606060"/>
                </a:solidFill>
              </a:rPr>
              <a:t>add-on </a:t>
            </a:r>
            <a:r>
              <a:rPr lang="en-US" sz="1800" b="1" dirty="0">
                <a:solidFill>
                  <a:srgbClr val="606060"/>
                </a:solidFill>
              </a:rPr>
              <a:t>component with extra costs (“double dipping”) and little incentive</a:t>
            </a:r>
          </a:p>
        </p:txBody>
      </p:sp>
      <p:sp>
        <p:nvSpPr>
          <p:cNvPr id="48" name="Rechteck 47"/>
          <p:cNvSpPr/>
          <p:nvPr/>
        </p:nvSpPr>
        <p:spPr>
          <a:xfrm>
            <a:off x="281355" y="5997039"/>
            <a:ext cx="8299938" cy="660936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26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Inhaltsplatzhalter 8"/>
          <p:cNvSpPr txBox="1">
            <a:spLocks/>
          </p:cNvSpPr>
          <p:nvPr/>
        </p:nvSpPr>
        <p:spPr>
          <a:xfrm>
            <a:off x="3983555" y="4150914"/>
            <a:ext cx="895539" cy="14773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606060"/>
              </a:buClr>
            </a:pPr>
            <a:r>
              <a:rPr lang="de-DE" sz="9600" dirty="0" smtClean="0">
                <a:solidFill>
                  <a:srgbClr val="7F7F7F"/>
                </a:solidFill>
              </a:rPr>
              <a:t>+</a:t>
            </a:r>
            <a:endParaRPr lang="de-DE" sz="9600" dirty="0">
              <a:solidFill>
                <a:srgbClr val="7F7F7F"/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46281" y="1841729"/>
            <a:ext cx="1267081" cy="3894250"/>
            <a:chOff x="2866804" y="1841729"/>
            <a:chExt cx="1372671" cy="3894250"/>
          </a:xfrm>
        </p:grpSpPr>
        <p:pic>
          <p:nvPicPr>
            <p:cNvPr id="160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34033" y="281176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1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295095" y="281176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2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656158" y="281176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16625" y="321703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482577" y="3217031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923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77895" y="195355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6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338957" y="195355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7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700020" y="195355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8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60487" y="235882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9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526439" y="235882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7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34033" y="45258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8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295095" y="45258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9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656158" y="45258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0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16625" y="49311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1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482577" y="49311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2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2977895" y="366765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3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338957" y="366765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700020" y="366765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5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160487" y="407292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6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3526439" y="4072929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hteck 5"/>
            <p:cNvSpPr/>
            <p:nvPr/>
          </p:nvSpPr>
          <p:spPr>
            <a:xfrm>
              <a:off x="2875312" y="1841729"/>
              <a:ext cx="1226054" cy="3571875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prstClr val="black"/>
                </a:solidFill>
              </a:endParaRPr>
            </a:p>
          </p:txBody>
        </p:sp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4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1598" y="4411249"/>
              <a:ext cx="556741" cy="865555"/>
            </a:xfrm>
            <a:prstGeom prst="rect">
              <a:avLst/>
            </a:prstGeom>
          </p:spPr>
        </p:pic>
        <p:sp>
          <p:nvSpPr>
            <p:cNvPr id="89" name="Inhaltsplatzhalter 8"/>
            <p:cNvSpPr txBox="1">
              <a:spLocks/>
            </p:cNvSpPr>
            <p:nvPr/>
          </p:nvSpPr>
          <p:spPr>
            <a:xfrm>
              <a:off x="2866804" y="5520535"/>
              <a:ext cx="1372671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None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355600" indent="-17462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–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538163" indent="-182563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19138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Symbol" pitchFamily="18" charset="2"/>
                <a:buChar char="-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606060"/>
                </a:buClr>
              </a:pPr>
              <a:r>
                <a:rPr lang="en-US" sz="1400" b="1" dirty="0">
                  <a:solidFill>
                    <a:srgbClr val="DB3F16"/>
                  </a:solidFill>
                </a:rPr>
                <a:t>Subscriptions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5011138" y="4269527"/>
            <a:ext cx="1271469" cy="1466452"/>
            <a:chOff x="5428732" y="4269527"/>
            <a:chExt cx="1377425" cy="1466452"/>
          </a:xfrm>
        </p:grpSpPr>
        <p:pic>
          <p:nvPicPr>
            <p:cNvPr id="49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5603792" y="45282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5964854" y="45282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6325917" y="452826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5786384" y="49335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97" t="28658" r="34806" b="35671"/>
            <a:stretch/>
          </p:blipFill>
          <p:spPr bwMode="auto">
            <a:xfrm>
              <a:off x="6152336" y="4933535"/>
              <a:ext cx="267565" cy="36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4" name="Rechteck 83"/>
            <p:cNvSpPr/>
            <p:nvPr/>
          </p:nvSpPr>
          <p:spPr>
            <a:xfrm>
              <a:off x="5495407" y="4269527"/>
              <a:ext cx="1226054" cy="1144078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prstClr val="black"/>
                </a:solidFill>
              </a:endParaRPr>
            </a:p>
          </p:txBody>
        </p:sp>
        <p:pic>
          <p:nvPicPr>
            <p:cNvPr id="88" name="Picture 4" descr="\\psf\Host\Volumes\Kerstin 2014\20141213\_Kerstin_141312\_form und glanz\Kunden\MPG_MPDL\18_Logo ESAC\220px-Open_Access_logo_PLoS_white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5349" y="4414560"/>
              <a:ext cx="546170" cy="854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0" name="Inhaltsplatzhalter 8"/>
            <p:cNvSpPr txBox="1">
              <a:spLocks/>
            </p:cNvSpPr>
            <p:nvPr/>
          </p:nvSpPr>
          <p:spPr>
            <a:xfrm>
              <a:off x="5428732" y="5520535"/>
              <a:ext cx="1377425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None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355600" indent="-17462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–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538163" indent="-182563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Arial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19138" indent="-180975" algn="l" defTabSz="914400" rtl="0" eaLnBrk="1" latinLnBrk="0" hangingPunct="1">
                <a:spcBef>
                  <a:spcPts val="200"/>
                </a:spcBef>
                <a:buClr>
                  <a:schemeClr val="tx2"/>
                </a:buClr>
                <a:buFont typeface="Symbol" pitchFamily="18" charset="2"/>
                <a:buChar char="-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606060"/>
                </a:buClr>
              </a:pPr>
              <a:r>
                <a:rPr lang="de-DE" sz="1400" b="1" dirty="0" smtClean="0">
                  <a:solidFill>
                    <a:srgbClr val="E8890A"/>
                  </a:solidFill>
                </a:rPr>
                <a:t>Open </a:t>
              </a:r>
              <a:r>
                <a:rPr lang="de-DE" sz="1400" b="1" dirty="0" err="1" smtClean="0">
                  <a:solidFill>
                    <a:srgbClr val="E8890A"/>
                  </a:solidFill>
                </a:rPr>
                <a:t>access</a:t>
              </a:r>
              <a:endParaRPr lang="de-DE" sz="1400" b="1" dirty="0">
                <a:solidFill>
                  <a:srgbClr val="E8890A"/>
                </a:solidFill>
              </a:endParaRPr>
            </a:p>
          </p:txBody>
        </p:sp>
      </p:grpSp>
      <p:sp>
        <p:nvSpPr>
          <p:cNvPr id="58" name="Rechteck 57"/>
          <p:cNvSpPr/>
          <p:nvPr/>
        </p:nvSpPr>
        <p:spPr>
          <a:xfrm>
            <a:off x="3233742" y="1451205"/>
            <a:ext cx="2696612" cy="443895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-1" y="1"/>
            <a:ext cx="9144001" cy="1196752"/>
            <a:chOff x="-1" y="1"/>
            <a:chExt cx="9144001" cy="1196752"/>
          </a:xfrm>
        </p:grpSpPr>
        <p:grpSp>
          <p:nvGrpSpPr>
            <p:cNvPr id="39" name="Gruppieren 38"/>
            <p:cNvGrpSpPr/>
            <p:nvPr/>
          </p:nvGrpSpPr>
          <p:grpSpPr>
            <a:xfrm>
              <a:off x="-1" y="1"/>
              <a:ext cx="9144001" cy="1196752"/>
              <a:chOff x="-1" y="1"/>
              <a:chExt cx="10718494" cy="1432716"/>
            </a:xfrm>
          </p:grpSpPr>
          <p:sp>
            <p:nvSpPr>
              <p:cNvPr id="40" name="Textfeld 39"/>
              <p:cNvSpPr txBox="1"/>
              <p:nvPr/>
            </p:nvSpPr>
            <p:spPr>
              <a:xfrm>
                <a:off x="-1" y="1"/>
                <a:ext cx="10718494" cy="1432716"/>
              </a:xfrm>
              <a:prstGeom prst="rect">
                <a:avLst/>
              </a:prstGeom>
              <a:solidFill>
                <a:schemeClr val="bg1">
                  <a:lumMod val="85000"/>
                  <a:alpha val="29000"/>
                </a:schemeClr>
              </a:solidFill>
            </p:spPr>
            <p:txBody>
              <a:bodyPr wrap="square" rtlCol="0">
                <a:noAutofit/>
              </a:bodyPr>
              <a:lstStyle/>
              <a:p>
                <a:endParaRPr lang="de-DE" dirty="0"/>
              </a:p>
            </p:txBody>
          </p:sp>
          <p:pic>
            <p:nvPicPr>
              <p:cNvPr id="41" name="Grafik 40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9549" y="346347"/>
                <a:ext cx="4154457" cy="756084"/>
              </a:xfrm>
              <a:prstGeom prst="rect">
                <a:avLst/>
              </a:prstGeom>
            </p:spPr>
          </p:pic>
        </p:grpSp>
        <p:sp>
          <p:nvSpPr>
            <p:cNvPr id="42" name="Textplatzhalter 17"/>
            <p:cNvSpPr txBox="1">
              <a:spLocks/>
            </p:cNvSpPr>
            <p:nvPr/>
          </p:nvSpPr>
          <p:spPr>
            <a:xfrm>
              <a:off x="3975499" y="499841"/>
              <a:ext cx="5168501" cy="696912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 fontScale="92500"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ts val="0"/>
                </a:spcBef>
                <a:buNone/>
                <a:defRPr/>
              </a:pPr>
              <a:r>
                <a:rPr lang="en-US" sz="2400"/>
                <a:t>The two operating models are combined 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37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xit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" dur="18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8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" dur="18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17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Motion origin="layout" path="M -1.33194E-6 -3.88529E-6 L 0.08511 -0.00092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247" y="-46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Motion origin="layout" path="M 3.08222E-6 -3.40426E-6 L -0.0529 -0.00069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45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8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5" grpId="1"/>
      <p:bldP spid="5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Gerade Verbindung 53"/>
          <p:cNvCxnSpPr/>
          <p:nvPr/>
        </p:nvCxnSpPr>
        <p:spPr>
          <a:xfrm>
            <a:off x="4592470" y="4270266"/>
            <a:ext cx="114053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/>
        </p:nvCxnSpPr>
        <p:spPr>
          <a:xfrm>
            <a:off x="3437767" y="1841437"/>
            <a:ext cx="114053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3439320" y="1841731"/>
            <a:ext cx="1131742" cy="3571875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95886" y="4269235"/>
            <a:ext cx="1131742" cy="1144078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pic>
        <p:nvPicPr>
          <p:cNvPr id="16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492465" y="281176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25753" y="281176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59042" y="281176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661011" y="321703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998813" y="321703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532953" y="195355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66241" y="195355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99530" y="195355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701499" y="235882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039301" y="235882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492465" y="45258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25753" y="45258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59042" y="45258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661011" y="49311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998813" y="49311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532953" y="366766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66241" y="366766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99530" y="366766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701499" y="407293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039301" y="407293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448" y="4411250"/>
            <a:ext cx="513915" cy="865555"/>
          </a:xfrm>
          <a:prstGeom prst="rect">
            <a:avLst/>
          </a:prstGeom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695947" y="45282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5029235" y="45282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5362524" y="45282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864493" y="49335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5202295" y="49335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4" descr="\\psf\Host\Volumes\Kerstin 2014\20141213\_Kerstin_141312\_form und glanz\Kunden\MPG_MPDL\18_Logo ESAC\220px-Open_Access_logo_PLoS_white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691" y="4414560"/>
            <a:ext cx="504157" cy="85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Inhaltsplatzhalter 8"/>
          <p:cNvSpPr txBox="1">
            <a:spLocks/>
          </p:cNvSpPr>
          <p:nvPr/>
        </p:nvSpPr>
        <p:spPr>
          <a:xfrm>
            <a:off x="3430407" y="5520535"/>
            <a:ext cx="12670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06060"/>
              </a:buClr>
            </a:pPr>
            <a:r>
              <a:rPr lang="en-US" sz="1400" b="1" dirty="0">
                <a:solidFill>
                  <a:srgbClr val="DB3F16"/>
                </a:solidFill>
              </a:rPr>
              <a:t>Subscriptions</a:t>
            </a:r>
          </a:p>
        </p:txBody>
      </p:sp>
      <p:sp>
        <p:nvSpPr>
          <p:cNvPr id="90" name="Inhaltsplatzhalter 8"/>
          <p:cNvSpPr txBox="1">
            <a:spLocks/>
          </p:cNvSpPr>
          <p:nvPr/>
        </p:nvSpPr>
        <p:spPr>
          <a:xfrm>
            <a:off x="4534353" y="5520535"/>
            <a:ext cx="127146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606060"/>
              </a:buClr>
            </a:pPr>
            <a:r>
              <a:rPr lang="de-DE" sz="1400" b="1" dirty="0" smtClean="0">
                <a:solidFill>
                  <a:srgbClr val="E8890A"/>
                </a:solidFill>
              </a:rPr>
              <a:t>Open </a:t>
            </a:r>
            <a:r>
              <a:rPr lang="de-DE" sz="1400" b="1" dirty="0" err="1" smtClean="0">
                <a:solidFill>
                  <a:srgbClr val="E8890A"/>
                </a:solidFill>
              </a:rPr>
              <a:t>access</a:t>
            </a:r>
            <a:endParaRPr lang="de-DE" sz="1400" b="1" dirty="0">
              <a:solidFill>
                <a:srgbClr val="E8890A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3233742" y="1451205"/>
            <a:ext cx="2696612" cy="443895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553165" y="1516578"/>
            <a:ext cx="1959337" cy="2462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606060"/>
                </a:solidFill>
              </a:rPr>
              <a:t>Offsetting Agreement</a:t>
            </a:r>
            <a:endParaRPr lang="en-US" sz="1600" b="1" dirty="0">
              <a:solidFill>
                <a:srgbClr val="606060"/>
              </a:solidFill>
            </a:endParaRPr>
          </a:p>
        </p:txBody>
      </p:sp>
      <p:grpSp>
        <p:nvGrpSpPr>
          <p:cNvPr id="40" name="Gruppieren 39"/>
          <p:cNvGrpSpPr/>
          <p:nvPr/>
        </p:nvGrpSpPr>
        <p:grpSpPr>
          <a:xfrm>
            <a:off x="-1" y="1"/>
            <a:ext cx="9144001" cy="1196752"/>
            <a:chOff x="-1" y="1"/>
            <a:chExt cx="9144001" cy="1196752"/>
          </a:xfrm>
        </p:grpSpPr>
        <p:grpSp>
          <p:nvGrpSpPr>
            <p:cNvPr id="41" name="Gruppieren 40"/>
            <p:cNvGrpSpPr/>
            <p:nvPr/>
          </p:nvGrpSpPr>
          <p:grpSpPr>
            <a:xfrm>
              <a:off x="-1" y="1"/>
              <a:ext cx="9144001" cy="1196752"/>
              <a:chOff x="-1" y="1"/>
              <a:chExt cx="10718494" cy="1432716"/>
            </a:xfrm>
          </p:grpSpPr>
          <p:sp>
            <p:nvSpPr>
              <p:cNvPr id="43" name="Textfeld 42"/>
              <p:cNvSpPr txBox="1"/>
              <p:nvPr/>
            </p:nvSpPr>
            <p:spPr>
              <a:xfrm>
                <a:off x="-1" y="1"/>
                <a:ext cx="10718494" cy="1432716"/>
              </a:xfrm>
              <a:prstGeom prst="rect">
                <a:avLst/>
              </a:prstGeom>
              <a:solidFill>
                <a:schemeClr val="bg1">
                  <a:lumMod val="85000"/>
                  <a:alpha val="29000"/>
                </a:schemeClr>
              </a:solidFill>
            </p:spPr>
            <p:txBody>
              <a:bodyPr wrap="square" rtlCol="0">
                <a:noAutofit/>
              </a:bodyPr>
              <a:lstStyle/>
              <a:p>
                <a:endParaRPr lang="de-DE" dirty="0"/>
              </a:p>
            </p:txBody>
          </p:sp>
          <p:pic>
            <p:nvPicPr>
              <p:cNvPr id="44" name="Grafik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9549" y="346347"/>
                <a:ext cx="4154457" cy="756084"/>
              </a:xfrm>
              <a:prstGeom prst="rect">
                <a:avLst/>
              </a:prstGeom>
            </p:spPr>
          </p:pic>
        </p:grpSp>
        <p:sp>
          <p:nvSpPr>
            <p:cNvPr id="42" name="Textplatzhalter 17"/>
            <p:cNvSpPr txBox="1">
              <a:spLocks/>
            </p:cNvSpPr>
            <p:nvPr/>
          </p:nvSpPr>
          <p:spPr>
            <a:xfrm>
              <a:off x="3975499" y="499841"/>
              <a:ext cx="5168501" cy="696912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 fontScale="92500"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ts val="0"/>
                </a:spcBef>
                <a:buNone/>
                <a:defRPr/>
              </a:pPr>
              <a:r>
                <a:rPr lang="en-US" sz="2400"/>
                <a:t>The two operating models are combined 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243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hteck 44"/>
          <p:cNvSpPr/>
          <p:nvPr/>
        </p:nvSpPr>
        <p:spPr>
          <a:xfrm>
            <a:off x="3438247" y="4315957"/>
            <a:ext cx="1131742" cy="1097356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US" sz="1200" dirty="0" smtClean="0">
              <a:solidFill>
                <a:prstClr val="black"/>
              </a:solidFill>
            </a:endParaRPr>
          </a:p>
        </p:txBody>
      </p:sp>
      <p:cxnSp>
        <p:nvCxnSpPr>
          <p:cNvPr id="54" name="Gerade Verbindung 53"/>
          <p:cNvCxnSpPr/>
          <p:nvPr/>
        </p:nvCxnSpPr>
        <p:spPr>
          <a:xfrm>
            <a:off x="4592470" y="4270266"/>
            <a:ext cx="114053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/>
        </p:nvCxnSpPr>
        <p:spPr>
          <a:xfrm>
            <a:off x="3437767" y="1841437"/>
            <a:ext cx="114053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3439320" y="1841731"/>
            <a:ext cx="1131742" cy="3571875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95885" y="1841730"/>
            <a:ext cx="1128364" cy="35729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95886" y="4269235"/>
            <a:ext cx="1131742" cy="1144078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pic>
        <p:nvPicPr>
          <p:cNvPr id="16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492465" y="281176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25753" y="281176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59042" y="281176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661011" y="321703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998813" y="3217032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532953" y="195355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66241" y="195355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99530" y="195355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701499" y="235882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039301" y="235882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492465" y="45258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25753" y="45258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59042" y="45258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661011" y="49311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998813" y="49311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532953" y="366766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866241" y="366766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199530" y="366766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3701499" y="407293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039301" y="4072930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448" y="4411250"/>
            <a:ext cx="513915" cy="865555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6457583" y="1516580"/>
            <a:ext cx="21596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rgbClr val="606060"/>
                </a:solidFill>
              </a:rPr>
              <a:t>Publisher</a:t>
            </a:r>
            <a:endParaRPr lang="en-US" sz="1600" b="1" dirty="0">
              <a:solidFill>
                <a:srgbClr val="606060"/>
              </a:solidFill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279086" y="1516580"/>
            <a:ext cx="37690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rgbClr val="606060"/>
                </a:solidFill>
              </a:rPr>
              <a:t>Institution</a:t>
            </a:r>
            <a:endParaRPr lang="en-US" sz="1600" b="1" dirty="0">
              <a:solidFill>
                <a:srgbClr val="606060"/>
              </a:solidFill>
            </a:endParaRPr>
          </a:p>
        </p:txBody>
      </p:sp>
      <p:sp>
        <p:nvSpPr>
          <p:cNvPr id="73" name="Inhaltsplatzhalter 8"/>
          <p:cNvSpPr txBox="1">
            <a:spLocks/>
          </p:cNvSpPr>
          <p:nvPr/>
        </p:nvSpPr>
        <p:spPr>
          <a:xfrm>
            <a:off x="279085" y="1921528"/>
            <a:ext cx="2165406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06060"/>
                </a:solidFill>
              </a:rPr>
              <a:t>Spending largely for publishing instead of subscriptions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06060"/>
                </a:solidFill>
              </a:rPr>
              <a:t>Shift of expenses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06060"/>
                </a:solidFill>
              </a:rPr>
              <a:t>New workflows with OA relevance</a:t>
            </a:r>
          </a:p>
        </p:txBody>
      </p:sp>
      <p:sp>
        <p:nvSpPr>
          <p:cNvPr id="75" name="Inhaltsplatzhalter 8"/>
          <p:cNvSpPr txBox="1">
            <a:spLocks/>
          </p:cNvSpPr>
          <p:nvPr/>
        </p:nvSpPr>
        <p:spPr>
          <a:xfrm>
            <a:off x="6457584" y="1921528"/>
            <a:ext cx="2444652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Revenue stream not disrupted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Publishes all articles from Institution in OA </a:t>
            </a:r>
          </a:p>
          <a:p>
            <a:pPr marL="177800" indent="-177800">
              <a:buClr>
                <a:srgbClr val="606060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06060"/>
                </a:solidFill>
              </a:rPr>
              <a:t>Continues to provide reading access</a:t>
            </a:r>
          </a:p>
        </p:txBody>
      </p:sp>
      <p:sp>
        <p:nvSpPr>
          <p:cNvPr id="46" name="Inhaltsplatzhalter 8"/>
          <p:cNvSpPr txBox="1">
            <a:spLocks/>
          </p:cNvSpPr>
          <p:nvPr/>
        </p:nvSpPr>
        <p:spPr>
          <a:xfrm>
            <a:off x="372702" y="6036368"/>
            <a:ext cx="8208591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606060"/>
              </a:buClr>
            </a:pPr>
            <a:r>
              <a:rPr lang="en-US" sz="1800" b="1" dirty="0" smtClean="0">
                <a:solidFill>
                  <a:srgbClr val="606060"/>
                </a:solidFill>
              </a:rPr>
              <a:t>One </a:t>
            </a:r>
            <a:r>
              <a:rPr lang="en-US" sz="1800" b="1" dirty="0">
                <a:solidFill>
                  <a:srgbClr val="606060"/>
                </a:solidFill>
              </a:rPr>
              <a:t>comprehensive approach with incentives for institutions </a:t>
            </a:r>
            <a:r>
              <a:rPr lang="en-US" sz="1800" b="1" dirty="0" smtClean="0">
                <a:solidFill>
                  <a:srgbClr val="606060"/>
                </a:solidFill>
              </a:rPr>
              <a:t/>
            </a:r>
            <a:br>
              <a:rPr lang="en-US" sz="1800" b="1" dirty="0" smtClean="0">
                <a:solidFill>
                  <a:srgbClr val="606060"/>
                </a:solidFill>
              </a:rPr>
            </a:br>
            <a:r>
              <a:rPr lang="en-US" sz="1800" b="1" dirty="0" smtClean="0">
                <a:solidFill>
                  <a:srgbClr val="606060"/>
                </a:solidFill>
              </a:rPr>
              <a:t>and </a:t>
            </a:r>
            <a:r>
              <a:rPr lang="en-US" sz="1800" b="1" dirty="0">
                <a:solidFill>
                  <a:srgbClr val="606060"/>
                </a:solidFill>
              </a:rPr>
              <a:t>publishers to shift costs and operating </a:t>
            </a:r>
            <a:r>
              <a:rPr lang="en-US" sz="1800" b="1" dirty="0" smtClean="0">
                <a:solidFill>
                  <a:srgbClr val="606060"/>
                </a:solidFill>
              </a:rPr>
              <a:t>modes</a:t>
            </a:r>
            <a:endParaRPr lang="en-US" sz="1800" b="1" dirty="0">
              <a:solidFill>
                <a:srgbClr val="606060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281355" y="5997039"/>
            <a:ext cx="8299938" cy="660936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rgbClr val="606060"/>
              </a:solidFill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695947" y="45282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5029235" y="45282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5362524" y="452826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4864493" y="49335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7" t="28658" r="34806" b="35671"/>
          <a:stretch/>
        </p:blipFill>
        <p:spPr bwMode="auto">
          <a:xfrm>
            <a:off x="5202295" y="4933536"/>
            <a:ext cx="246983" cy="36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4" descr="\\psf\Host\Volumes\Kerstin 2014\20141213\_Kerstin_141312\_form und glanz\Kunden\MPG_MPDL\18_Logo ESAC\220px-Open_Access_logo_PLoS_white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691" y="4414560"/>
            <a:ext cx="504157" cy="85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Inhaltsplatzhalter 8"/>
          <p:cNvSpPr txBox="1">
            <a:spLocks/>
          </p:cNvSpPr>
          <p:nvPr/>
        </p:nvSpPr>
        <p:spPr>
          <a:xfrm>
            <a:off x="3430407" y="5520535"/>
            <a:ext cx="12670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06060"/>
              </a:buClr>
            </a:pPr>
            <a:r>
              <a:rPr lang="en-US" sz="1400" b="1" dirty="0">
                <a:solidFill>
                  <a:srgbClr val="DB3F16"/>
                </a:solidFill>
              </a:rPr>
              <a:t>Subscriptions</a:t>
            </a:r>
          </a:p>
        </p:txBody>
      </p:sp>
      <p:sp>
        <p:nvSpPr>
          <p:cNvPr id="90" name="Inhaltsplatzhalter 8"/>
          <p:cNvSpPr txBox="1">
            <a:spLocks/>
          </p:cNvSpPr>
          <p:nvPr/>
        </p:nvSpPr>
        <p:spPr>
          <a:xfrm>
            <a:off x="4534353" y="5520535"/>
            <a:ext cx="127146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606060"/>
              </a:buClr>
            </a:pPr>
            <a:r>
              <a:rPr lang="de-DE" sz="1400" b="1" dirty="0" smtClean="0">
                <a:solidFill>
                  <a:srgbClr val="E8890A"/>
                </a:solidFill>
              </a:rPr>
              <a:t>Open </a:t>
            </a:r>
            <a:r>
              <a:rPr lang="de-DE" sz="1400" b="1" dirty="0" err="1" smtClean="0">
                <a:solidFill>
                  <a:srgbClr val="E8890A"/>
                </a:solidFill>
              </a:rPr>
              <a:t>access</a:t>
            </a:r>
            <a:endParaRPr lang="de-DE" sz="1400" b="1" dirty="0">
              <a:solidFill>
                <a:srgbClr val="E8890A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3233742" y="1451205"/>
            <a:ext cx="2696612" cy="443895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prstClr val="black"/>
              </a:solidFill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553165" y="1516578"/>
            <a:ext cx="1959337" cy="2462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606060"/>
                </a:solidFill>
              </a:rPr>
              <a:t>Offsetting Agreement</a:t>
            </a:r>
            <a:endParaRPr lang="en-US" sz="1600" b="1" dirty="0">
              <a:solidFill>
                <a:srgbClr val="606060"/>
              </a:solidFill>
            </a:endParaRPr>
          </a:p>
        </p:txBody>
      </p:sp>
      <p:cxnSp>
        <p:nvCxnSpPr>
          <p:cNvPr id="64" name="Gerade Verbindung 63"/>
          <p:cNvCxnSpPr/>
          <p:nvPr/>
        </p:nvCxnSpPr>
        <p:spPr>
          <a:xfrm flipH="1">
            <a:off x="0" y="1451204"/>
            <a:ext cx="238968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>
          <a:xfrm flipH="1">
            <a:off x="6457584" y="1451204"/>
            <a:ext cx="26864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uppieren 59"/>
          <p:cNvGrpSpPr/>
          <p:nvPr/>
        </p:nvGrpSpPr>
        <p:grpSpPr>
          <a:xfrm>
            <a:off x="-1" y="1"/>
            <a:ext cx="9144001" cy="1196752"/>
            <a:chOff x="-1" y="1"/>
            <a:chExt cx="9144001" cy="1196752"/>
          </a:xfrm>
        </p:grpSpPr>
        <p:grpSp>
          <p:nvGrpSpPr>
            <p:cNvPr id="61" name="Gruppieren 60"/>
            <p:cNvGrpSpPr/>
            <p:nvPr/>
          </p:nvGrpSpPr>
          <p:grpSpPr>
            <a:xfrm>
              <a:off x="-1" y="1"/>
              <a:ext cx="9144001" cy="1196752"/>
              <a:chOff x="-1" y="1"/>
              <a:chExt cx="10718494" cy="1432716"/>
            </a:xfrm>
          </p:grpSpPr>
          <p:sp>
            <p:nvSpPr>
              <p:cNvPr id="63" name="Textfeld 62"/>
              <p:cNvSpPr txBox="1"/>
              <p:nvPr/>
            </p:nvSpPr>
            <p:spPr>
              <a:xfrm>
                <a:off x="-1" y="1"/>
                <a:ext cx="10718494" cy="1432716"/>
              </a:xfrm>
              <a:prstGeom prst="rect">
                <a:avLst/>
              </a:prstGeom>
              <a:solidFill>
                <a:schemeClr val="bg1">
                  <a:lumMod val="85000"/>
                  <a:alpha val="29000"/>
                </a:schemeClr>
              </a:solidFill>
            </p:spPr>
            <p:txBody>
              <a:bodyPr wrap="square" rtlCol="0">
                <a:noAutofit/>
              </a:bodyPr>
              <a:lstStyle/>
              <a:p>
                <a:endParaRPr lang="de-DE" dirty="0"/>
              </a:p>
            </p:txBody>
          </p:sp>
          <p:pic>
            <p:nvPicPr>
              <p:cNvPr id="66" name="Grafik 65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9549" y="346347"/>
                <a:ext cx="4154457" cy="756084"/>
              </a:xfrm>
              <a:prstGeom prst="rect">
                <a:avLst/>
              </a:prstGeom>
            </p:spPr>
          </p:pic>
        </p:grpSp>
        <p:sp>
          <p:nvSpPr>
            <p:cNvPr id="62" name="Textplatzhalter 17"/>
            <p:cNvSpPr txBox="1">
              <a:spLocks/>
            </p:cNvSpPr>
            <p:nvPr/>
          </p:nvSpPr>
          <p:spPr>
            <a:xfrm>
              <a:off x="3975499" y="499841"/>
              <a:ext cx="5168501" cy="624903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  <a:defRPr/>
              </a:pPr>
              <a:r>
                <a:rPr lang="en-US" sz="2400"/>
                <a:t>Offsetting model at wor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349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06796E-6 1.05458E-6 L 0.13175 0.0009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88" y="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004E-7 1.05458E-6 L 0.13191 0.00254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88" y="11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28594E-6 1.05458E-6 L 0.13192 0.00092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88" y="4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05128E-6 -3.7037E-7 L 0.13125 0.0006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54" y="2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3743E-6 -2.11841E-6 L 0.13192 0.000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88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5641E-7 -1.11111E-6 L 0.12644 -0.0004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819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14" y="-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05128E-6 -1.11111E-6 L 0.12644 0.0009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14" y="46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8974E-6 -1.11111E-6 L 0.12708 0.00093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46" y="46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7.69231E-7 1.11111E-6 L 0.12692 -0.0011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46" y="-6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403E-6 3.51526E-6 L 0.12727 0.00069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63" y="23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3.83074E-6 0.00023 L 0.12823 -0.00046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1" y="-46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641E-7 -3.7037E-6 L 0.12548 -0.00115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66" y="-69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8974E-6 -1.11111E-6 L 0.12788 -0.00185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94" y="-93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7.69231E-7 0.00023 L 0.12772 -0.00093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78" y="-6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2816E-6 3.51526E-6 L 0.1271 -0.00093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47" y="-4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8205E-6 1.48148E-6 L -1.28205E-6 0.35972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986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1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6.98494E-7 1.85185E-6 L 0.00064 -0.3544 " pathEditMode="relative" rAng="0" ptsTypes="AA">
                                      <p:cBhvr>
                                        <p:cTn id="44" dur="21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" y="-17731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2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600"/>
                            </p:stCondLst>
                            <p:childTnLst>
                              <p:par>
                                <p:cTn id="5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1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57" grpId="0" animBg="1"/>
      <p:bldP spid="58" grpId="0" animBg="1"/>
      <p:bldP spid="59" grpId="0" animBg="1"/>
      <p:bldP spid="17" grpId="0"/>
      <p:bldP spid="70" grpId="0"/>
      <p:bldP spid="73" grpId="0"/>
      <p:bldP spid="75" grpId="0"/>
      <p:bldP spid="46" grpId="0"/>
      <p:bldP spid="4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5576" y="2276872"/>
            <a:ext cx="6696744" cy="3096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3600" smtClean="0"/>
              <a:t>Workshop Scope &amp; Objectives</a:t>
            </a:r>
          </a:p>
          <a:p>
            <a:pPr marL="0" indent="0">
              <a:buNone/>
            </a:pPr>
            <a:endParaRPr lang="en-US" sz="1600" smtClean="0"/>
          </a:p>
          <a:p>
            <a:r>
              <a:rPr lang="en-US" smtClean="0"/>
              <a:t>Exchange of experiences</a:t>
            </a:r>
          </a:p>
          <a:p>
            <a:endParaRPr lang="en-US" sz="1200" smtClean="0"/>
          </a:p>
          <a:p>
            <a:r>
              <a:rPr lang="en-US"/>
              <a:t>Discuss shared understanding</a:t>
            </a:r>
          </a:p>
          <a:p>
            <a:pPr marL="0" indent="0">
              <a:buNone/>
            </a:pPr>
            <a:r>
              <a:rPr lang="en-US" smtClean="0"/>
              <a:t> </a:t>
            </a:r>
            <a:endParaRPr lang="en-US"/>
          </a:p>
        </p:txBody>
      </p:sp>
      <p:grpSp>
        <p:nvGrpSpPr>
          <p:cNvPr id="6" name="Gruppieren 5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7" name="Textfeld 6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5253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539552" y="2388136"/>
            <a:ext cx="8352928" cy="4408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/>
              <a:t>Scope &amp; Objectives of ESAC</a:t>
            </a:r>
          </a:p>
          <a:p>
            <a:endParaRPr lang="de-DE" sz="1050"/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2800" smtClean="0"/>
              <a:t>International workshop 2013, established </a:t>
            </a:r>
            <a:r>
              <a:rPr lang="en-US" sz="2800"/>
              <a:t>in 2014  </a:t>
            </a:r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2800"/>
              <a:t>To keep up the discussion about open access workflows and administrative burdens related to the </a:t>
            </a:r>
            <a:r>
              <a:rPr lang="en-US" sz="2800" b="1"/>
              <a:t>management of open access article processing charges</a:t>
            </a:r>
            <a:endParaRPr lang="de-DE" sz="2800" b="1"/>
          </a:p>
        </p:txBody>
      </p:sp>
    </p:spTree>
    <p:extLst>
      <p:ext uri="{BB962C8B-B14F-4D97-AF65-F5344CB8AC3E}">
        <p14:creationId xmlns:p14="http://schemas.microsoft.com/office/powerpoint/2010/main" val="207084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5576" y="2276872"/>
            <a:ext cx="8208912" cy="3096344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de-DE" sz="2800" smtClean="0"/>
              <a:t>International setting</a:t>
            </a:r>
            <a:endParaRPr lang="de-DE" sz="280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400" smtClean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About 20 participant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Austria, Sweden, United Kingdom, Netherlands, Denmark, Finnland, Norway, United States</a:t>
            </a:r>
            <a:endParaRPr lang="en-US" sz="280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2800" smtClean="0"/>
              <a:t> </a:t>
            </a:r>
            <a:endParaRPr lang="en-US" sz="2800"/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416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536" y="2132856"/>
            <a:ext cx="8568952" cy="3773341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smtClean="0"/>
              <a:t>Focus on</a:t>
            </a:r>
          </a:p>
          <a:p>
            <a:pPr marL="0" indent="0">
              <a:buNone/>
            </a:pPr>
            <a:endParaRPr lang="en-US" sz="1000" smtClean="0"/>
          </a:p>
          <a:p>
            <a:r>
              <a:rPr lang="en-US" sz="2400" smtClean="0"/>
              <a:t>General objectives of the individual agreement (strategic focus, expectations, preliminary considerations, and starting situation in terms of the underlying data basis and licensing situation)</a:t>
            </a:r>
          </a:p>
          <a:p>
            <a:endParaRPr lang="en-US" sz="1000" smtClean="0"/>
          </a:p>
          <a:p>
            <a:r>
              <a:rPr lang="en-US" sz="2400" smtClean="0"/>
              <a:t>Realities and surprises upon entering into the negotiations</a:t>
            </a:r>
          </a:p>
          <a:p>
            <a:endParaRPr lang="en-US" sz="1000" smtClean="0"/>
          </a:p>
          <a:p>
            <a:r>
              <a:rPr lang="en-US" sz="2400" smtClean="0"/>
              <a:t>General mechanisms of the agreement (if already in place)</a:t>
            </a:r>
          </a:p>
          <a:p>
            <a:endParaRPr lang="en-US" sz="1000" smtClean="0"/>
          </a:p>
          <a:p>
            <a:r>
              <a:rPr lang="en-US" sz="2400" smtClean="0"/>
              <a:t>Administrative processes with regard to their scalability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138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9548" y="2204864"/>
            <a:ext cx="8568952" cy="4019562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/>
              <a:t>Shared understanding?</a:t>
            </a:r>
          </a:p>
          <a:p>
            <a:pPr marL="0" indent="0">
              <a:buNone/>
            </a:pPr>
            <a:endParaRPr lang="en-US" sz="1200" smtClean="0"/>
          </a:p>
          <a:p>
            <a:pPr lvl="0"/>
            <a:r>
              <a:rPr lang="en-US" sz="2800"/>
              <a:t>Do we share the same objective when negotiating offsetting</a:t>
            </a:r>
            <a:r>
              <a:rPr lang="en-US" sz="2800" smtClean="0"/>
              <a:t>?</a:t>
            </a:r>
          </a:p>
          <a:p>
            <a:pPr lvl="0"/>
            <a:endParaRPr lang="en-US" sz="1000"/>
          </a:p>
          <a:p>
            <a:pPr lvl="0"/>
            <a:r>
              <a:rPr lang="en-US" sz="2800"/>
              <a:t>Can we agree upon some basic principles for offsetting</a:t>
            </a:r>
            <a:r>
              <a:rPr lang="en-US" sz="2800" smtClean="0"/>
              <a:t>?</a:t>
            </a:r>
          </a:p>
          <a:p>
            <a:pPr lvl="0"/>
            <a:endParaRPr lang="en-US" sz="1000"/>
          </a:p>
          <a:p>
            <a:pPr lvl="0"/>
            <a:r>
              <a:rPr lang="en-US" sz="2800"/>
              <a:t>Which infrastructure do we need in order to support our goals and to monitor progress?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0244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9548" y="2420888"/>
            <a:ext cx="8568952" cy="2745367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/>
              <a:t>Outcome</a:t>
            </a:r>
            <a:endParaRPr lang="de-DE"/>
          </a:p>
          <a:p>
            <a:pPr marL="0" indent="0">
              <a:buNone/>
            </a:pPr>
            <a:endParaRPr lang="en-US" sz="120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Open Access has entered in the subscription world</a:t>
            </a:r>
            <a:r>
              <a:rPr lang="en-US" sz="2800"/>
              <a:t> </a:t>
            </a:r>
            <a:r>
              <a:rPr lang="en-US" sz="2800" smtClean="0"/>
              <a:t>and now becomes a reality also for license and acquisition managers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255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9548" y="2204864"/>
            <a:ext cx="8568952" cy="4038029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/>
              <a:t>Outcome</a:t>
            </a:r>
            <a:endParaRPr lang="de-DE"/>
          </a:p>
          <a:p>
            <a:pPr marL="0" indent="0">
              <a:buNone/>
            </a:pPr>
            <a:endParaRPr lang="en-US" sz="120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However, offsetting deals can only be seen as pilots- they do not represent a final stage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Transitional model, enabling an orderly transformation in terms of financial restructuring and the establishement of new business processes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9211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9548" y="2204864"/>
            <a:ext cx="8568952" cy="4038029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/>
              <a:t>Outcome</a:t>
            </a:r>
            <a:endParaRPr lang="de-DE"/>
          </a:p>
          <a:p>
            <a:pPr marL="0" indent="0">
              <a:buNone/>
            </a:pPr>
            <a:endParaRPr lang="en-US" sz="120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Need to truely get rid of access fees and subscription based component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„Pay as you publish“ instead of garanteed contract amounts 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800" smtClean="0"/>
              <a:t>Monitoring and permanent exchange required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05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245669"/>
              </p:ext>
            </p:extLst>
          </p:nvPr>
        </p:nvGraphicFramePr>
        <p:xfrm>
          <a:off x="611560" y="2708920"/>
          <a:ext cx="7632846" cy="387043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272141"/>
                <a:gridCol w="1272141"/>
                <a:gridCol w="1272141"/>
                <a:gridCol w="1272141"/>
                <a:gridCol w="1272141"/>
                <a:gridCol w="1272141"/>
              </a:tblGrid>
              <a:tr h="774086">
                <a:tc>
                  <a:txBody>
                    <a:bodyPr/>
                    <a:lstStyle/>
                    <a:p>
                      <a:r>
                        <a:rPr lang="de-DE" smtClean="0"/>
                        <a:t>Publishe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UK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Perio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Austri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Perio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…</a:t>
                      </a:r>
                      <a:endParaRPr lang="en-US"/>
                    </a:p>
                  </a:txBody>
                  <a:tcPr/>
                </a:tc>
              </a:tr>
              <a:tr h="774086">
                <a:tc>
                  <a:txBody>
                    <a:bodyPr/>
                    <a:lstStyle/>
                    <a:p>
                      <a:r>
                        <a:rPr lang="de-DE" smtClean="0"/>
                        <a:t>IOP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X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- 20XX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X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74086">
                <a:tc>
                  <a:txBody>
                    <a:bodyPr/>
                    <a:lstStyle/>
                    <a:p>
                      <a:r>
                        <a:rPr lang="de-DE" smtClean="0"/>
                        <a:t>Springe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X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74086">
                <a:tc>
                  <a:txBody>
                    <a:bodyPr/>
                    <a:lstStyle/>
                    <a:p>
                      <a:r>
                        <a:rPr lang="de-DE" smtClean="0"/>
                        <a:t>Wile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X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74086">
                <a:tc>
                  <a:txBody>
                    <a:bodyPr/>
                    <a:lstStyle/>
                    <a:p>
                      <a:r>
                        <a:rPr lang="de-DE" smtClean="0"/>
                        <a:t>…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240" y="2060847"/>
            <a:ext cx="8568952" cy="1138773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/>
              <a:t>Launch of a matrix</a:t>
            </a:r>
          </a:p>
          <a:p>
            <a:pPr marL="0" indent="0">
              <a:buNone/>
            </a:pPr>
            <a:endParaRPr lang="en-US" sz="1000" smtClean="0"/>
          </a:p>
          <a:p>
            <a:pPr lvl="0"/>
            <a:endParaRPr lang="en-US" sz="1000"/>
          </a:p>
          <a:p>
            <a:pPr lvl="0"/>
            <a:endParaRPr lang="en-US" sz="1000"/>
          </a:p>
        </p:txBody>
      </p:sp>
      <p:grpSp>
        <p:nvGrpSpPr>
          <p:cNvPr id="8" name="Gruppieren 7"/>
          <p:cNvGrpSpPr/>
          <p:nvPr/>
        </p:nvGrpSpPr>
        <p:grpSpPr>
          <a:xfrm>
            <a:off x="0" y="-1"/>
            <a:ext cx="9324528" cy="2060848"/>
            <a:chOff x="0" y="0"/>
            <a:chExt cx="9144000" cy="2204864"/>
          </a:xfrm>
        </p:grpSpPr>
        <p:sp>
          <p:nvSpPr>
            <p:cNvPr id="9" name="Textfeld 8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0158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27584" y="2780928"/>
            <a:ext cx="6814740" cy="2283702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/>
              <a:t>Link to Open APC</a:t>
            </a:r>
            <a:endParaRPr lang="de-DE"/>
          </a:p>
          <a:p>
            <a:pPr marL="0" indent="0">
              <a:buNone/>
            </a:pPr>
            <a:endParaRPr lang="en-US" sz="120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mtClean="0"/>
              <a:t>Differentiated pricing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mtClean="0"/>
              <a:t>Transparent costs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6487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99592" y="3356992"/>
            <a:ext cx="6814740" cy="1766637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mtClean="0">
                <a:hlinkClick r:id="rId2"/>
              </a:rPr>
              <a:t>www.esac-initiative.org</a:t>
            </a:r>
            <a:endParaRPr lang="de-DE" smtClean="0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 smtClean="0"/>
              <a:t>Thank you.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0" y="0"/>
            <a:ext cx="9144000" cy="2204864"/>
            <a:chOff x="0" y="0"/>
            <a:chExt cx="9144000" cy="2204864"/>
          </a:xfrm>
        </p:grpSpPr>
        <p:sp>
          <p:nvSpPr>
            <p:cNvPr id="6" name="Textfeld 5"/>
            <p:cNvSpPr txBox="1"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solidFill>
              <a:schemeClr val="bg1">
                <a:lumMod val="85000"/>
                <a:alpha val="29000"/>
              </a:schemeClr>
            </a:solidFill>
          </p:spPr>
          <p:txBody>
            <a:bodyPr wrap="square" rtlCol="0">
              <a:noAutofit/>
            </a:bodyPr>
            <a:lstStyle/>
            <a:p>
              <a:endParaRPr lang="de-DE" dirty="0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548" y="346348"/>
              <a:ext cx="8308913" cy="151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9371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9" name="Inhaltsplatzhalt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80" y="2492896"/>
            <a:ext cx="3660361" cy="3202816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475329" y="2493278"/>
            <a:ext cx="29998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smtClean="0"/>
              <a:t>… is part of</a:t>
            </a:r>
            <a:endParaRPr lang="en-US" sz="400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43" y="346348"/>
            <a:ext cx="8308913" cy="151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40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703306" y="2420888"/>
            <a:ext cx="7541102" cy="301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/>
              <a:t>Background</a:t>
            </a:r>
          </a:p>
          <a:p>
            <a:endParaRPr lang="de-DE" sz="1100"/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2800"/>
              <a:t>MPDL processes around 600 APC incidents/ </a:t>
            </a:r>
            <a:r>
              <a:rPr lang="en-US" sz="2800" smtClean="0"/>
              <a:t>year</a:t>
            </a:r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2800" smtClean="0"/>
              <a:t>PLOS </a:t>
            </a:r>
            <a:r>
              <a:rPr lang="en-US" sz="2800"/>
              <a:t>framework agreement on central billing since 2003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43" y="476672"/>
            <a:ext cx="8308913" cy="151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84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43" y="346348"/>
            <a:ext cx="8308913" cy="1512168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59" y="1772816"/>
            <a:ext cx="7114221" cy="486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315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667850" y="2419360"/>
            <a:ext cx="8152622" cy="374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/>
              <a:t>Workflow challenges </a:t>
            </a:r>
            <a:r>
              <a:rPr lang="de-DE" sz="2800"/>
              <a:t>(„all seems so familiar“)</a:t>
            </a:r>
          </a:p>
          <a:p>
            <a:endParaRPr lang="de-DE" sz="1100"/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2800" smtClean="0"/>
              <a:t>Author elegibility and authorization</a:t>
            </a:r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de-DE" sz="2800" smtClean="0"/>
              <a:t>Invoicing</a:t>
            </a:r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de-DE" sz="2800" smtClean="0"/>
              <a:t>Reporting</a:t>
            </a:r>
            <a:endParaRPr lang="en-US" sz="2800" smtClean="0"/>
          </a:p>
          <a:p>
            <a:pPr marL="342900" indent="-342900">
              <a:lnSpc>
                <a:spcPct val="170000"/>
              </a:lnSpc>
              <a:buFont typeface="Arial" panose="020B0604020202020204" pitchFamily="34" charset="0"/>
              <a:buChar char="•"/>
            </a:pPr>
            <a:endParaRPr lang="en-US" sz="2800" smtClean="0"/>
          </a:p>
        </p:txBody>
      </p:sp>
    </p:spTree>
    <p:extLst>
      <p:ext uri="{BB962C8B-B14F-4D97-AF65-F5344CB8AC3E}">
        <p14:creationId xmlns:p14="http://schemas.microsoft.com/office/powerpoint/2010/main" val="195598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378108" y="2199928"/>
            <a:ext cx="8504803" cy="4014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smtClean="0"/>
              <a:t>Further topics (tbc)</a:t>
            </a:r>
            <a:endParaRPr lang="de-DE" sz="1100"/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 smtClean="0"/>
              <a:t>Budgeting </a:t>
            </a: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/>
              <a:t>Agreement </a:t>
            </a:r>
            <a:r>
              <a:rPr lang="de-DE" sz="2400" smtClean="0"/>
              <a:t>models</a:t>
            </a:r>
            <a:endParaRPr lang="en-US" sz="2400" smtClean="0"/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smtClean="0"/>
              <a:t>Prepayment: pro and con</a:t>
            </a: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 smtClean="0"/>
              <a:t>Publisher dashboards: functionalities, minimum requirements </a:t>
            </a: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 smtClean="0"/>
              <a:t>„Memberships“</a:t>
            </a: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 smtClean="0"/>
              <a:t>Submitting systems</a:t>
            </a: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 smtClean="0"/>
              <a:t>Pricing schemes</a:t>
            </a: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2400" smtClean="0"/>
              <a:t>Funder Complience</a:t>
            </a:r>
            <a:endParaRPr lang="en-US" sz="2400" smtClean="0"/>
          </a:p>
        </p:txBody>
      </p:sp>
    </p:spTree>
    <p:extLst>
      <p:ext uri="{BB962C8B-B14F-4D97-AF65-F5344CB8AC3E}">
        <p14:creationId xmlns:p14="http://schemas.microsoft.com/office/powerpoint/2010/main" val="38440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2420888"/>
            <a:ext cx="5868144" cy="191937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340260"/>
            <a:ext cx="5868144" cy="226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71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0" y="0"/>
            <a:ext cx="9144000" cy="2204864"/>
          </a:xfrm>
          <a:prstGeom prst="rect">
            <a:avLst/>
          </a:prstGeom>
          <a:solidFill>
            <a:schemeClr val="bg1">
              <a:lumMod val="85000"/>
              <a:alpha val="29000"/>
            </a:schemeClr>
          </a:solidFill>
        </p:spPr>
        <p:txBody>
          <a:bodyPr wrap="square" rtlCol="0">
            <a:noAutofit/>
          </a:bodyPr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8" y="346348"/>
            <a:ext cx="8308913" cy="1512168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539552" y="2420888"/>
            <a:ext cx="763284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3200" b="1"/>
          </a:p>
          <a:p>
            <a:r>
              <a:rPr lang="en-US" sz="3600" b="1" smtClean="0"/>
              <a:t>Open </a:t>
            </a:r>
            <a:r>
              <a:rPr lang="en-US" sz="3600" b="1"/>
              <a:t>access </a:t>
            </a:r>
            <a:r>
              <a:rPr lang="en-US" sz="3600" b="1" smtClean="0"/>
              <a:t>transition </a:t>
            </a:r>
            <a:r>
              <a:rPr lang="en-US" sz="3600" smtClean="0"/>
              <a:t>requires a</a:t>
            </a:r>
            <a:endParaRPr lang="en-US" sz="3600"/>
          </a:p>
          <a:p>
            <a:r>
              <a:rPr lang="en-US" sz="3600" smtClean="0"/>
              <a:t>reallocation </a:t>
            </a:r>
            <a:r>
              <a:rPr lang="en-US" sz="3600"/>
              <a:t>of </a:t>
            </a:r>
            <a:r>
              <a:rPr lang="en-US" sz="3600" smtClean="0"/>
              <a:t>budgets </a:t>
            </a:r>
            <a:r>
              <a:rPr lang="en-US" sz="3600"/>
              <a:t>and </a:t>
            </a:r>
            <a:r>
              <a:rPr lang="en-US" sz="3600" smtClean="0"/>
              <a:t>processes on a large-scale as the business model for scholarly publishing changes.</a:t>
            </a:r>
          </a:p>
        </p:txBody>
      </p:sp>
    </p:spTree>
    <p:extLst>
      <p:ext uri="{BB962C8B-B14F-4D97-AF65-F5344CB8AC3E}">
        <p14:creationId xmlns:p14="http://schemas.microsoft.com/office/powerpoint/2010/main" val="703270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2</Words>
  <Application>Microsoft Office PowerPoint</Application>
  <PresentationFormat>Bildschirmpräsentation (4:3)</PresentationFormat>
  <Paragraphs>153</Paragraphs>
  <Slides>28</Slides>
  <Notes>18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29" baseType="lpstr">
      <vt:lpstr>Lariss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MPDL / MPISO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ai Karin Geschuhn</dc:creator>
  <cp:lastModifiedBy>Kai Karin Geschuhn</cp:lastModifiedBy>
  <cp:revision>155</cp:revision>
  <dcterms:created xsi:type="dcterms:W3CDTF">2014-09-03T15:07:22Z</dcterms:created>
  <dcterms:modified xsi:type="dcterms:W3CDTF">2016-04-11T13:59:49Z</dcterms:modified>
</cp:coreProperties>
</file>